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18A9B-4095-4DCA-956C-2AD40E014D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502570-C79C-4260-80E1-88BABE1FFD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34DBB3-2177-4801-A832-A3A353467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BF7BFD-F949-4094-8A3E-97299EC12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1673B6-5887-42B9-AE43-CB35BCD29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71758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A88E8-701C-40AF-A089-807A2F0CE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5FE8D2-9CB1-45F4-9D79-335642ECF5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0CC026-6069-41D5-B981-8F70F42C8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0F327E-2FFB-4B62-997F-F546C9FE2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E09C28-ED27-4CFA-A7A8-1038B3406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79814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AAF7D6B-C8A3-4DBD-997E-0C75398AB37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5A2B24-1AC4-4ABB-8442-D97D99C89B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D6522E-CF73-491A-A460-12BD2D5E4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1BF5CA-DF04-4642-B9BA-F314F7248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80458C-2ECC-4FAD-B3C1-03EA23E1B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7367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35C63-D847-4109-B235-4030696095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F86AD-6218-40D5-A186-EC0C57EC58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7E21E5-5E4A-487A-A6B6-45A96FE0F1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875C8F-6056-40C9-954F-97CA19EAEE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A7B8D8-F69F-4340-9D6C-02BB1BEA1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55736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10323-2860-4682-9CE1-8FD30F41D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FF3BFE-EAFC-4B86-8E59-B4DB50427B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A1D760-11DB-4E32-9E40-6C3FFB78A8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CB33BD-34C0-469E-9EC7-72A8F88CD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5ACE8B-8710-47E0-A758-FD2E92037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79366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6F34BB-641D-4206-B0B0-6115E57AF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7A9487-0F07-4B9B-8DCE-5491379318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3E743C-FD96-4676-8112-49FE5D94B6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F67949-5DF6-42D4-9FDF-EDB6F321D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4EAD83-BD64-4D7D-AB17-2DB9BA3320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2599C7-DF32-4FC4-B69A-445C49CA4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30393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7EB433-9369-4FAB-B207-8C37ECFE3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A2E44F-0BA5-4549-92A6-A2A61FA404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0AEFAD-1B19-4B5F-ABA3-D7CE60EDF7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F2A888B-7E9C-47B2-8C0E-6AF0317DA1F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6962934-D7C9-4FBC-B8C0-798C601A73B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0EF0E6-8D20-42F7-91D3-712900F2DF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07CFEC-878E-47A7-8CBE-C1DFA8194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0B0EB34-AF57-4FDA-A3EC-89CD576F2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2766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05914-B4CC-43D0-B9E2-D6C6E6DFF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D76E0E-23FE-41F8-B59D-3BADA09AD4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D2833A-89A5-44FE-81E0-5EE603BDD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3B0D71-5600-4B82-AAFC-59ED4A1DC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856482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D194585-716F-4BC1-982F-19B37B002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81AD15-7EA2-4FBF-B6D0-7253839EC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3A5B69-039D-404F-BAE3-AFF36838A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95947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5B3E4-886B-4E9B-8A4A-F1CD7454B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75CF77-535C-434C-9625-086DC46215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8ED190-A9B9-454B-9D55-2829B784B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F09A83-25F7-442B-B38A-FBAA5065BA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880DA2-AAEE-4C52-B27A-6C6305AFCA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21A073-04F7-4772-A735-88D9B9C1BD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37688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79690-55B4-4B33-BE15-16353A50A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70968D-65C1-4F9B-9EEB-D05D04C15C6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280F09-4B59-401A-B018-A94779F6F9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7689514-3482-4CB3-A7CE-174E744A7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B67D37-2FFE-4878-850F-8E56115E48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E5B87-9ED7-411F-83F7-BE5A1EBAC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95673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2E1ABF0-5EFE-4157-B6DE-46DD6D23B1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42482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B2416CD-2505-4688-8D28-0FE12741355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C802EE-9E75-41D3-BD2C-AA6F1477D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25D1C1-BD86-495D-9DE1-DD5CE5D0A8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C817FB-51C9-4D81-B99E-93047C6AB3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963336-B66E-4F89-9671-6E9ADF58F644}" type="datetimeFigureOut">
              <a:rPr lang="sv-SE" smtClean="0"/>
              <a:t>2020-06-28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3AD7CF-E038-4C86-9EF5-4AB417E4BA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747451-B5E5-4076-90CB-93DEADE4D4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F5CCCB-7D4C-4524-A3E4-2F4F9C50AA8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29546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0D4D53-7E50-420E-8C27-8291EBFDC1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969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388A303C-0698-4FE1-83A1-40E98465FA36}"/>
              </a:ext>
            </a:extLst>
          </p:cNvPr>
          <p:cNvGrpSpPr/>
          <p:nvPr/>
        </p:nvGrpSpPr>
        <p:grpSpPr>
          <a:xfrm>
            <a:off x="169698" y="119515"/>
            <a:ext cx="2401224" cy="2371894"/>
            <a:chOff x="619759" y="518159"/>
            <a:chExt cx="4460240" cy="4033520"/>
          </a:xfrm>
        </p:grpSpPr>
        <p:sp>
          <p:nvSpPr>
            <p:cNvPr id="9" name="Diamond 8">
              <a:extLst>
                <a:ext uri="{FF2B5EF4-FFF2-40B4-BE49-F238E27FC236}">
                  <a16:creationId xmlns:a16="http://schemas.microsoft.com/office/drawing/2014/main" id="{58F100C4-A25A-4CF6-AB1F-40087B4DC3BD}"/>
                </a:ext>
              </a:extLst>
            </p:cNvPr>
            <p:cNvSpPr/>
            <p:nvPr/>
          </p:nvSpPr>
          <p:spPr>
            <a:xfrm>
              <a:off x="619759" y="518159"/>
              <a:ext cx="4460240" cy="4033520"/>
            </a:xfrm>
            <a:prstGeom prst="diamond">
              <a:avLst/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1895E58-9241-4C2C-8F27-293C54DD8F34}"/>
                </a:ext>
              </a:extLst>
            </p:cNvPr>
            <p:cNvSpPr txBox="1"/>
            <p:nvPr/>
          </p:nvSpPr>
          <p:spPr>
            <a:xfrm>
              <a:off x="988607" y="2142376"/>
              <a:ext cx="3722541" cy="7850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400" dirty="0">
                  <a:solidFill>
                    <a:srgbClr val="00B050"/>
                  </a:solidFill>
                </a:rPr>
                <a:t>VSK BARMARK</a:t>
              </a:r>
            </a:p>
          </p:txBody>
        </p:sp>
      </p:grpSp>
      <p:pic>
        <p:nvPicPr>
          <p:cNvPr id="2" name="Bildobjekt 1">
            <a:extLst>
              <a:ext uri="{FF2B5EF4-FFF2-40B4-BE49-F238E27FC236}">
                <a16:creationId xmlns:a16="http://schemas.microsoft.com/office/drawing/2014/main" id="{3CC4255A-E90B-4BBE-89AB-8213B89A0B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37861" y="437324"/>
            <a:ext cx="2619026" cy="4476542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F0451D-3366-45C9-ADDB-89388B852D8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70921" y="437323"/>
            <a:ext cx="2543813" cy="4476543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AD0E235E-DDD0-459E-B011-8AE2CD2EEF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80014" y="437323"/>
            <a:ext cx="2619026" cy="4603584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4CACAB19-7121-463B-A9F2-1F0703A47B83}"/>
              </a:ext>
            </a:extLst>
          </p:cNvPr>
          <p:cNvSpPr txBox="1"/>
          <p:nvPr/>
        </p:nvSpPr>
        <p:spPr>
          <a:xfrm>
            <a:off x="2570921" y="5231674"/>
            <a:ext cx="24384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Registrera träning:</a:t>
            </a:r>
          </a:p>
          <a:p>
            <a:r>
              <a:rPr lang="sv-SE" sz="1600" dirty="0"/>
              <a:t>Tryck på        som öppnar nästa bild </a:t>
            </a:r>
            <a:endParaRPr lang="en-US" sz="1600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FF954BCD-D492-4899-8F53-B95D260E165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9748" y="5502124"/>
            <a:ext cx="323850" cy="314325"/>
          </a:xfrm>
          <a:prstGeom prst="rect">
            <a:avLst/>
          </a:prstGeom>
        </p:spPr>
      </p:pic>
      <p:sp>
        <p:nvSpPr>
          <p:cNvPr id="21" name="textruta 20">
            <a:extLst>
              <a:ext uri="{FF2B5EF4-FFF2-40B4-BE49-F238E27FC236}">
                <a16:creationId xmlns:a16="http://schemas.microsoft.com/office/drawing/2014/main" id="{848D9B39-982D-4CA2-B617-7D323E76911B}"/>
              </a:ext>
            </a:extLst>
          </p:cNvPr>
          <p:cNvSpPr txBox="1"/>
          <p:nvPr/>
        </p:nvSpPr>
        <p:spPr>
          <a:xfrm>
            <a:off x="5537861" y="5231674"/>
            <a:ext cx="24384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Registrera träning:</a:t>
            </a:r>
          </a:p>
          <a:p>
            <a:r>
              <a:rPr lang="sv-SE" sz="1600" dirty="0"/>
              <a:t>Välj Manual </a:t>
            </a:r>
            <a:r>
              <a:rPr lang="sv-SE" sz="1600" dirty="0" err="1"/>
              <a:t>activity</a:t>
            </a:r>
            <a:endParaRPr lang="en-US" sz="1600" dirty="0"/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FCBFD4A4-138A-4C5B-A344-40ED7BD44C40}"/>
              </a:ext>
            </a:extLst>
          </p:cNvPr>
          <p:cNvSpPr txBox="1"/>
          <p:nvPr/>
        </p:nvSpPr>
        <p:spPr>
          <a:xfrm>
            <a:off x="8580014" y="5231674"/>
            <a:ext cx="329393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Registrera träning:</a:t>
            </a:r>
          </a:p>
          <a:p>
            <a:r>
              <a:rPr lang="sv-SE" sz="1600" dirty="0"/>
              <a:t>Välj sport: </a:t>
            </a:r>
            <a:r>
              <a:rPr lang="sv-SE" sz="1600" dirty="0" err="1"/>
              <a:t>Run</a:t>
            </a:r>
            <a:r>
              <a:rPr lang="sv-SE" sz="1600" dirty="0"/>
              <a:t>, Workout, </a:t>
            </a:r>
            <a:r>
              <a:rPr lang="sv-SE" sz="1600" dirty="0" err="1"/>
              <a:t>Cycling</a:t>
            </a:r>
            <a:r>
              <a:rPr lang="sv-SE" sz="1600" dirty="0"/>
              <a:t>, </a:t>
            </a:r>
            <a:r>
              <a:rPr lang="sv-SE" sz="1600" dirty="0" err="1"/>
              <a:t>etc</a:t>
            </a:r>
            <a:r>
              <a:rPr lang="sv-SE" sz="1600" dirty="0"/>
              <a:t>, etc. Fyll i </a:t>
            </a:r>
            <a:r>
              <a:rPr lang="sv-SE" sz="1600" dirty="0" err="1"/>
              <a:t>Time</a:t>
            </a:r>
            <a:r>
              <a:rPr lang="sv-SE" sz="1600" dirty="0"/>
              <a:t>, </a:t>
            </a:r>
            <a:r>
              <a:rPr lang="sv-SE" sz="1600" dirty="0" err="1"/>
              <a:t>Distance</a:t>
            </a:r>
            <a:r>
              <a:rPr lang="sv-SE" sz="1600" dirty="0"/>
              <a:t>. Välj </a:t>
            </a:r>
            <a:r>
              <a:rPr lang="sv-SE" sz="1600" dirty="0" err="1"/>
              <a:t>When</a:t>
            </a:r>
            <a:r>
              <a:rPr lang="sv-SE" sz="1600" dirty="0"/>
              <a:t> (Datum och tid för träning. Välj </a:t>
            </a:r>
            <a:r>
              <a:rPr lang="sv-SE" sz="1600" dirty="0" err="1"/>
              <a:t>Name</a:t>
            </a:r>
            <a:r>
              <a:rPr lang="sv-SE" sz="1600" dirty="0"/>
              <a:t> (Döp ditt pass till något) Lägg till ett svettigt foto från passet, om du vill.</a:t>
            </a:r>
            <a:endParaRPr lang="en-US" sz="1600" dirty="0"/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30A91E5E-F96F-4166-B2D0-4FC82A5392F9}"/>
              </a:ext>
            </a:extLst>
          </p:cNvPr>
          <p:cNvSpPr txBox="1"/>
          <p:nvPr/>
        </p:nvSpPr>
        <p:spPr>
          <a:xfrm>
            <a:off x="94914" y="2596877"/>
            <a:ext cx="243840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arenR"/>
            </a:pPr>
            <a:r>
              <a:rPr lang="sv-SE" sz="1600" dirty="0"/>
              <a:t>Ladda ned </a:t>
            </a:r>
            <a:r>
              <a:rPr lang="sv-SE" sz="1600" dirty="0" err="1"/>
              <a:t>Strava</a:t>
            </a:r>
            <a:r>
              <a:rPr lang="sv-SE" sz="1600" dirty="0"/>
              <a:t> </a:t>
            </a:r>
            <a:r>
              <a:rPr lang="sv-SE" sz="1600" dirty="0" err="1"/>
              <a:t>App</a:t>
            </a:r>
            <a:endParaRPr lang="sv-SE" sz="1600" dirty="0"/>
          </a:p>
          <a:p>
            <a:pPr marL="342900" indent="-342900">
              <a:buAutoNum type="arabicParenR"/>
            </a:pPr>
            <a:r>
              <a:rPr lang="sv-SE" sz="1600" dirty="0"/>
              <a:t>Välj gratisversionen (allt du behöver)</a:t>
            </a:r>
          </a:p>
          <a:p>
            <a:pPr marL="342900" indent="-342900">
              <a:buAutoNum type="arabicParenR"/>
            </a:pPr>
            <a:r>
              <a:rPr lang="sv-SE" sz="1600" dirty="0"/>
              <a:t>Bli medlem och välj sedan </a:t>
            </a:r>
            <a:r>
              <a:rPr lang="sv-SE" sz="1600" dirty="0" err="1"/>
              <a:t>Explore</a:t>
            </a:r>
            <a:r>
              <a:rPr lang="sv-SE" sz="1600" dirty="0"/>
              <a:t>/Clubs/Västerås Bandy P-16. Du godkänns som klubbmedlem av en ledare.</a:t>
            </a:r>
          </a:p>
          <a:p>
            <a:pPr marL="342900" indent="-342900">
              <a:buAutoNum type="arabicParenR"/>
            </a:pPr>
            <a:r>
              <a:rPr lang="sv-SE" sz="1600" dirty="0"/>
              <a:t>Följ instruktionerna till höger kring hur du registrerar dina pass.</a:t>
            </a:r>
          </a:p>
          <a:p>
            <a:pPr marL="342900" indent="-342900">
              <a:buAutoNum type="arabicParenR"/>
            </a:pPr>
            <a:r>
              <a:rPr lang="sv-SE" sz="1600" dirty="0"/>
              <a:t>Om du behöver hjälp. Prata med killen på bilderna.. Han verkar kunna det här…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402737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hSWa1smxBKevNrINAB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129</Words>
  <Application>Microsoft Office PowerPoint</Application>
  <PresentationFormat>Bredbild</PresentationFormat>
  <Paragraphs>12</Paragraphs>
  <Slides>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klas Nilsson</dc:creator>
  <cp:lastModifiedBy>Nicklas Nilsson</cp:lastModifiedBy>
  <cp:revision>6</cp:revision>
  <dcterms:created xsi:type="dcterms:W3CDTF">2020-04-14T13:37:28Z</dcterms:created>
  <dcterms:modified xsi:type="dcterms:W3CDTF">2020-06-28T22:2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58707db-cea7-4907-92d1-cf323291762b_Enabled">
    <vt:lpwstr>True</vt:lpwstr>
  </property>
  <property fmtid="{D5CDD505-2E9C-101B-9397-08002B2CF9AE}" pid="3" name="MSIP_Label_e58707db-cea7-4907-92d1-cf323291762b_SiteId">
    <vt:lpwstr>e11cbe9c-f680-44b9-9d42-d705f740b888</vt:lpwstr>
  </property>
  <property fmtid="{D5CDD505-2E9C-101B-9397-08002B2CF9AE}" pid="4" name="MSIP_Label_e58707db-cea7-4907-92d1-cf323291762b_Owner">
    <vt:lpwstr>nicklas.nilsson@kanthal.com</vt:lpwstr>
  </property>
  <property fmtid="{D5CDD505-2E9C-101B-9397-08002B2CF9AE}" pid="5" name="MSIP_Label_e58707db-cea7-4907-92d1-cf323291762b_SetDate">
    <vt:lpwstr>2020-04-14T13:46:19.4845035Z</vt:lpwstr>
  </property>
  <property fmtid="{D5CDD505-2E9C-101B-9397-08002B2CF9AE}" pid="6" name="MSIP_Label_e58707db-cea7-4907-92d1-cf323291762b_Name">
    <vt:lpwstr>Restricted (i2)</vt:lpwstr>
  </property>
  <property fmtid="{D5CDD505-2E9C-101B-9397-08002B2CF9AE}" pid="7" name="MSIP_Label_e58707db-cea7-4907-92d1-cf323291762b_Application">
    <vt:lpwstr>Microsoft Azure Information Protection</vt:lpwstr>
  </property>
  <property fmtid="{D5CDD505-2E9C-101B-9397-08002B2CF9AE}" pid="8" name="MSIP_Label_e58707db-cea7-4907-92d1-cf323291762b_Extended_MSFT_Method">
    <vt:lpwstr>Automatic</vt:lpwstr>
  </property>
  <property fmtid="{D5CDD505-2E9C-101B-9397-08002B2CF9AE}" pid="9" name="Sensitivity">
    <vt:lpwstr>Restricted (i2)</vt:lpwstr>
  </property>
</Properties>
</file>